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4"/>
  </p:notesMasterIdLst>
  <p:sldIdLst>
    <p:sldId id="303" r:id="rId5"/>
    <p:sldId id="262" r:id="rId6"/>
    <p:sldId id="306" r:id="rId7"/>
    <p:sldId id="314" r:id="rId8"/>
    <p:sldId id="257" r:id="rId9"/>
    <p:sldId id="269" r:id="rId10"/>
    <p:sldId id="321" r:id="rId11"/>
    <p:sldId id="261" r:id="rId12"/>
    <p:sldId id="296" r:id="rId13"/>
    <p:sldId id="304" r:id="rId14"/>
    <p:sldId id="307" r:id="rId15"/>
    <p:sldId id="318" r:id="rId16"/>
    <p:sldId id="319" r:id="rId17"/>
    <p:sldId id="323" r:id="rId18"/>
    <p:sldId id="291" r:id="rId19"/>
    <p:sldId id="274" r:id="rId20"/>
    <p:sldId id="300" r:id="rId21"/>
    <p:sldId id="286" r:id="rId22"/>
    <p:sldId id="292" r:id="rId23"/>
  </p:sldIdLst>
  <p:sldSz cx="9631363" cy="7223125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6" d="100"/>
          <a:sy n="106" d="100"/>
        </p:scale>
        <p:origin x="536" y="184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22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7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2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21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22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0" Type="http://schemas.openxmlformats.org/officeDocument/2006/relationships/hyperlink" Target="https://apcoronavirusupdates.collegeboard.org/educators/course-schedule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4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7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997 Acorn Book - AP Statistics Multiple Choice #6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221604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FB1D2C6C-DB64-6A43-8191-65424380A3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12421" y="1338041"/>
            <a:ext cx="6806520" cy="4863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73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7 AP Statistics Multiple Choice #26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5E5AC061-F351-4C4B-B32C-F56AC95039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058" y="2308231"/>
            <a:ext cx="8752114" cy="260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441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1 AP Statistics Free Response #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CA378CE6-6273-234E-A5B5-5AEDC5B455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726" y="2254440"/>
            <a:ext cx="8523514" cy="2973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165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5 AP Statistics Free Response #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4A42A8EF-D026-DC4E-8959-0D903EE916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542" y="1579289"/>
            <a:ext cx="8441871" cy="4323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3928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2 AP Statistics Free Response #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6855F9C4-8BBC-D64D-875C-E242A61057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7006" y="1596283"/>
            <a:ext cx="8537349" cy="4289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4129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0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440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solving different types of Random Variable question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all problems in AP Statistic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90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6"/>
            <a:ext cx="8905698" cy="1044843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12 Multiple Choice #8 Homework Problem 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Wednesday 04/2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55800"/>
            <a:ext cx="8905698" cy="47019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703142F1-4B37-AD43-8617-014EAF22638A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0611" y="1992804"/>
            <a:ext cx="8523514" cy="4027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56" y="90412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7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90412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" y="902928"/>
            <a:ext cx="119060" cy="11906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6">
              <a:defRPr/>
            </a:pPr>
            <a:endParaRPr lang="en-US" sz="2699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3" y="578601"/>
            <a:ext cx="8905208" cy="309532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evice and Internet Acces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361803" y="3738107"/>
            <a:ext cx="8905208" cy="2799564"/>
          </a:xfrm>
          <a:prstGeom prst="rect">
            <a:avLst/>
          </a:prstGeom>
          <a:noFill/>
        </p:spPr>
        <p:txBody>
          <a:bodyPr wrap="square" lIns="37917" tIns="37917" rIns="37917" bIns="37917" rtlCol="0">
            <a:spAutoFit/>
          </a:bodyPr>
          <a:lstStyle/>
          <a:p>
            <a:pPr algn="ctr"/>
            <a:r>
              <a:rPr lang="en-US" sz="2528" dirty="0"/>
              <a:t>We know that not all students have access to the internet or a device. We’re working on solutions to help students get what they need to show their best work. If you need mobile tools or connectivity or know someone who does, </a:t>
            </a:r>
            <a:r>
              <a:rPr lang="en-US" sz="2528" b="1" dirty="0"/>
              <a:t>you can reach us directly to let us know</a:t>
            </a:r>
            <a:r>
              <a:rPr lang="en-US" sz="2528" dirty="0"/>
              <a:t>.</a:t>
            </a:r>
          </a:p>
          <a:p>
            <a:pPr algn="ctr"/>
            <a:endParaRPr lang="en-US" sz="2106" b="1" dirty="0"/>
          </a:p>
          <a:p>
            <a:pPr algn="ctr"/>
            <a:r>
              <a:rPr lang="en-US" sz="2949" b="1" dirty="0" err="1"/>
              <a:t>cb.org</a:t>
            </a:r>
            <a:r>
              <a:rPr lang="en-US" sz="2949" b="1" dirty="0"/>
              <a:t>/tech</a:t>
            </a:r>
            <a:endParaRPr lang="en-US" sz="2949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2B1456-05D8-5743-B9A9-6FD0CFD856A7}"/>
              </a:ext>
            </a:extLst>
          </p:cNvPr>
          <p:cNvGrpSpPr/>
          <p:nvPr/>
        </p:nvGrpSpPr>
        <p:grpSpPr>
          <a:xfrm>
            <a:off x="3825279" y="1324133"/>
            <a:ext cx="1979528" cy="1977973"/>
            <a:chOff x="5691514" y="4575025"/>
            <a:chExt cx="736209" cy="7356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5568AC-2F09-8B45-BD81-56144E4FA90E}"/>
                </a:ext>
              </a:extLst>
            </p:cNvPr>
            <p:cNvSpPr/>
            <p:nvPr/>
          </p:nvSpPr>
          <p:spPr>
            <a:xfrm>
              <a:off x="5693622" y="4575025"/>
              <a:ext cx="731520" cy="73152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917" tIns="37917" rIns="37917" bIns="37917" rtlCol="0" anchor="ctr">
              <a:normAutofit/>
            </a:bodyPr>
            <a:lstStyle/>
            <a:p>
              <a:pPr algn="ctr"/>
              <a:endParaRPr lang="en-US" sz="2106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A2127A-0ACF-DC47-85CF-C6050F4D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514" y="4579136"/>
              <a:ext cx="736209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035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3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4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379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61661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6D492665-FB9F-5746-B541-7C7CA47B74A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49706" y="1235343"/>
            <a:ext cx="8109284" cy="5524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8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000" dirty="0"/>
          </a:p>
          <a:p>
            <a:pPr algn="ctr"/>
            <a:r>
              <a:rPr lang="en-US" sz="2000" dirty="0">
                <a:hlinkClick r:id="rId9"/>
              </a:rPr>
              <a:t>https://apstudents.collegeboard.org/coronavirus-updat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  <a:hlinkClick r:id="rId10"/>
              </a:rPr>
              <a:t>https://apcoronavirusupdates.collegeboard.org/educators/course-schedule</a:t>
            </a:r>
            <a:endParaRPr lang="en-US" sz="2000" dirty="0">
              <a:solidFill>
                <a:srgbClr val="1E1E1E"/>
              </a:solidFill>
            </a:endParaRPr>
          </a:p>
          <a:p>
            <a:pPr lvl="0">
              <a:defRPr/>
            </a:pPr>
            <a:endParaRPr lang="en-US" sz="2000" dirty="0">
              <a:solidFill>
                <a:srgbClr val="1E1E1E"/>
              </a:solidFill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</a:rPr>
              <a:t>Scroll down to Math And Science, click on AP Statistics, Expand 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1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878151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4.7 – 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Random Variable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62832" y="1602436"/>
            <a:ext cx="8905698" cy="500973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12" name="Picture 11" descr="A picture containing indoor, photo, table, white&#10;&#10;Description automatically generated">
            <a:extLst>
              <a:ext uri="{FF2B5EF4-FFF2-40B4-BE49-F238E27FC236}">
                <a16:creationId xmlns:a16="http://schemas.microsoft.com/office/drawing/2014/main" id="{70B943F9-3441-DC44-87DC-02C4CB9D602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63692" y="3336771"/>
            <a:ext cx="6721251" cy="197156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A263F7F-8ADE-5444-AF23-BB4C871A0C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63692" y="1944963"/>
            <a:ext cx="6730896" cy="935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5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207069"/>
            <a:ext cx="8905698" cy="5440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D50B042-F490-C34F-B092-B1B3F1F96A2B}"/>
              </a:ext>
            </a:extLst>
          </p:cNvPr>
          <p:cNvSpPr txBox="1"/>
          <p:nvPr/>
        </p:nvSpPr>
        <p:spPr>
          <a:xfrm>
            <a:off x="733927" y="3029252"/>
            <a:ext cx="8422105" cy="1796252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2800" dirty="0">
                <a:solidFill>
                  <a:srgbClr val="1E1E1E"/>
                </a:solidFill>
              </a:rPr>
              <a:t>For two INDEPENDENT variables x and y we can add the variances, we cannot add the standard deviations.</a:t>
            </a:r>
          </a:p>
          <a:p>
            <a:endParaRPr lang="en-US" sz="2800" dirty="0" err="1"/>
          </a:p>
        </p:txBody>
      </p:sp>
    </p:spTree>
    <p:extLst>
      <p:ext uri="{BB962C8B-B14F-4D97-AF65-F5344CB8AC3E}">
        <p14:creationId xmlns:p14="http://schemas.microsoft.com/office/powerpoint/2010/main" val="7649737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55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997 Acorn Book - AP Statistics Multiple Choice #5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5" y="1105806"/>
            <a:ext cx="8915768" cy="5182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 algn="ctr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73A12532-81C7-9142-9A71-4BF2B85091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6900" y="1252767"/>
            <a:ext cx="4611384" cy="4870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513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916</TotalTime>
  <Words>292</Words>
  <Application>Microsoft Macintosh PowerPoint</Application>
  <PresentationFormat>Custom</PresentationFormat>
  <Paragraphs>228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UPDATES FOR STUDENTS/TEACHERS</vt:lpstr>
      <vt:lpstr>PowerPoint Presentation</vt:lpstr>
      <vt:lpstr>WHAT YOU NEED TO KNOW-TOPIC 4.7 –  Random Variables</vt:lpstr>
      <vt:lpstr>WHAT YOU NEED TO KNOW</vt:lpstr>
      <vt:lpstr>PowerPoint Presentation</vt:lpstr>
      <vt:lpstr>1997 Acorn Book - AP Statistics Multiple Choice #5</vt:lpstr>
      <vt:lpstr>1997 Acorn Book - AP Statistics Multiple Choice #6 </vt:lpstr>
      <vt:lpstr>2007 AP Statistics Multiple Choice #26</vt:lpstr>
      <vt:lpstr>2001 AP Statistics Free Response #2</vt:lpstr>
      <vt:lpstr>2015 AP Statistics Free Response #3</vt:lpstr>
      <vt:lpstr>2002 AP Statistics Free Response #3</vt:lpstr>
      <vt:lpstr>PowerPoint Presentation</vt:lpstr>
      <vt:lpstr>DEBRIEF AND SUMMARY</vt:lpstr>
      <vt:lpstr>2012 Multiple Choice #8 Homework Problem  Wednesday 04/22</vt:lpstr>
      <vt:lpstr>Device and Internet Access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114</cp:revision>
  <dcterms:created xsi:type="dcterms:W3CDTF">2019-04-30T21:25:41Z</dcterms:created>
  <dcterms:modified xsi:type="dcterms:W3CDTF">2020-04-22T09:30:4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